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3660" r:id="rId5"/>
  </p:sldMasterIdLst>
  <p:sldIdLst>
    <p:sldId id="989" r:id="rId6"/>
    <p:sldId id="257" r:id="rId7"/>
    <p:sldId id="258" r:id="rId8"/>
    <p:sldId id="259" r:id="rId9"/>
    <p:sldId id="260" r:id="rId10"/>
    <p:sldId id="1005" r:id="rId11"/>
    <p:sldId id="1001" r:id="rId12"/>
    <p:sldId id="1002" r:id="rId13"/>
    <p:sldId id="1008" r:id="rId14"/>
    <p:sldId id="1003" r:id="rId15"/>
    <p:sldId id="1004" r:id="rId16"/>
    <p:sldId id="1009" r:id="rId17"/>
    <p:sldId id="993" r:id="rId18"/>
    <p:sldId id="1011" r:id="rId19"/>
    <p:sldId id="1014" r:id="rId20"/>
    <p:sldId id="995" r:id="rId21"/>
    <p:sldId id="996" r:id="rId22"/>
    <p:sldId id="1010" r:id="rId23"/>
    <p:sldId id="994" r:id="rId24"/>
    <p:sldId id="1007" r:id="rId25"/>
  </p:sldIdLst>
  <p:sldSz cx="18288000" cy="10287000"/>
  <p:notesSz cx="6858000" cy="9144000"/>
  <p:embeddedFontLst>
    <p:embeddedFont>
      <p:font typeface="Verdana" panose="020B0604030504040204" pitchFamily="34" charset="0"/>
      <p:regular r:id="rId26"/>
      <p:bold r:id="rId27"/>
      <p:italic r:id="rId28"/>
      <p:boldItalic r:id="rId2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57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B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BE8366-D995-A845-BFFB-F7ABE74EE226}" v="20" dt="2026-06-16T00:22:01.434"/>
    <p1510:client id="{9DFF6412-BE7E-740B-EAC7-7161B19F5476}" v="2" dt="2026-06-16T16:16:26.25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58"/>
  </p:normalViewPr>
  <p:slideViewPr>
    <p:cSldViewPr snapToGrid="0">
      <p:cViewPr varScale="1">
        <p:scale>
          <a:sx n="80" d="100"/>
          <a:sy n="80" d="100"/>
        </p:scale>
        <p:origin x="304" y="200"/>
      </p:cViewPr>
      <p:guideLst>
        <p:guide orient="horz" pos="3240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1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3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2.fntdata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8700" y="3195638"/>
            <a:ext cx="11658600" cy="22050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57400" y="5829301"/>
            <a:ext cx="9601200" cy="26289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3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3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10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7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84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215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58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95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6343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819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3470" y="6610352"/>
            <a:ext cx="11658600" cy="2043112"/>
          </a:xfrm>
        </p:spPr>
        <p:txBody>
          <a:bodyPr anchor="t"/>
          <a:lstStyle>
            <a:lvl1pPr algn="l">
              <a:defRPr sz="3822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3470" y="4360071"/>
            <a:ext cx="11658600" cy="2250280"/>
          </a:xfrm>
        </p:spPr>
        <p:txBody>
          <a:bodyPr anchor="b"/>
          <a:lstStyle>
            <a:lvl1pPr marL="0" indent="0">
              <a:buNone/>
              <a:defRPr sz="1911">
                <a:solidFill>
                  <a:schemeClr val="tx1">
                    <a:tint val="75000"/>
                  </a:schemeClr>
                </a:solidFill>
              </a:defRPr>
            </a:lvl1pPr>
            <a:lvl2pPr marL="436921" indent="0">
              <a:buNone/>
              <a:defRPr sz="1720">
                <a:solidFill>
                  <a:schemeClr val="tx1">
                    <a:tint val="75000"/>
                  </a:schemeClr>
                </a:solidFill>
              </a:defRPr>
            </a:lvl2pPr>
            <a:lvl3pPr marL="873842" indent="0">
              <a:buNone/>
              <a:defRPr sz="1529">
                <a:solidFill>
                  <a:schemeClr val="tx1">
                    <a:tint val="75000"/>
                  </a:schemeClr>
                </a:solidFill>
              </a:defRPr>
            </a:lvl3pPr>
            <a:lvl4pPr marL="1310763" indent="0">
              <a:buNone/>
              <a:defRPr sz="1338">
                <a:solidFill>
                  <a:schemeClr val="tx1">
                    <a:tint val="75000"/>
                  </a:schemeClr>
                </a:solidFill>
              </a:defRPr>
            </a:lvl4pPr>
            <a:lvl5pPr marL="1747684" indent="0">
              <a:buNone/>
              <a:defRPr sz="1338">
                <a:solidFill>
                  <a:schemeClr val="tx1">
                    <a:tint val="75000"/>
                  </a:schemeClr>
                </a:solidFill>
              </a:defRPr>
            </a:lvl5pPr>
            <a:lvl6pPr marL="2184605" indent="0">
              <a:buNone/>
              <a:defRPr sz="1338">
                <a:solidFill>
                  <a:schemeClr val="tx1">
                    <a:tint val="75000"/>
                  </a:schemeClr>
                </a:solidFill>
              </a:defRPr>
            </a:lvl6pPr>
            <a:lvl7pPr marL="2621526" indent="0">
              <a:buNone/>
              <a:defRPr sz="1338">
                <a:solidFill>
                  <a:schemeClr val="tx1">
                    <a:tint val="75000"/>
                  </a:schemeClr>
                </a:solidFill>
              </a:defRPr>
            </a:lvl7pPr>
            <a:lvl8pPr marL="3058447" indent="0">
              <a:buNone/>
              <a:defRPr sz="1338">
                <a:solidFill>
                  <a:schemeClr val="tx1">
                    <a:tint val="75000"/>
                  </a:schemeClr>
                </a:solidFill>
              </a:defRPr>
            </a:lvl8pPr>
            <a:lvl9pPr marL="3495368" indent="0">
              <a:buNone/>
              <a:defRPr sz="13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201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400300"/>
            <a:ext cx="6057900" cy="6788945"/>
          </a:xfrm>
        </p:spPr>
        <p:txBody>
          <a:bodyPr/>
          <a:lstStyle>
            <a:lvl1pPr>
              <a:defRPr sz="2676"/>
            </a:lvl1pPr>
            <a:lvl2pPr>
              <a:defRPr sz="2294"/>
            </a:lvl2pPr>
            <a:lvl3pPr>
              <a:defRPr sz="1911"/>
            </a:lvl3pPr>
            <a:lvl4pPr>
              <a:defRPr sz="1720"/>
            </a:lvl4pPr>
            <a:lvl5pPr>
              <a:defRPr sz="1720"/>
            </a:lvl5pPr>
            <a:lvl6pPr>
              <a:defRPr sz="1720"/>
            </a:lvl6pPr>
            <a:lvl7pPr>
              <a:defRPr sz="1720"/>
            </a:lvl7pPr>
            <a:lvl8pPr>
              <a:defRPr sz="1720"/>
            </a:lvl8pPr>
            <a:lvl9pPr>
              <a:defRPr sz="17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72300" y="2400300"/>
            <a:ext cx="6057900" cy="6788945"/>
          </a:xfrm>
        </p:spPr>
        <p:txBody>
          <a:bodyPr/>
          <a:lstStyle>
            <a:lvl1pPr>
              <a:defRPr sz="2676"/>
            </a:lvl1pPr>
            <a:lvl2pPr>
              <a:defRPr sz="2294"/>
            </a:lvl2pPr>
            <a:lvl3pPr>
              <a:defRPr sz="1911"/>
            </a:lvl3pPr>
            <a:lvl4pPr>
              <a:defRPr sz="1720"/>
            </a:lvl4pPr>
            <a:lvl5pPr>
              <a:defRPr sz="1720"/>
            </a:lvl5pPr>
            <a:lvl6pPr>
              <a:defRPr sz="1720"/>
            </a:lvl6pPr>
            <a:lvl7pPr>
              <a:defRPr sz="1720"/>
            </a:lvl7pPr>
            <a:lvl8pPr>
              <a:defRPr sz="1720"/>
            </a:lvl8pPr>
            <a:lvl9pPr>
              <a:defRPr sz="17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9784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302670"/>
            <a:ext cx="6060282" cy="959643"/>
          </a:xfrm>
        </p:spPr>
        <p:txBody>
          <a:bodyPr anchor="b"/>
          <a:lstStyle>
            <a:lvl1pPr marL="0" indent="0">
              <a:buNone/>
              <a:defRPr sz="2294" b="1"/>
            </a:lvl1pPr>
            <a:lvl2pPr marL="436921" indent="0">
              <a:buNone/>
              <a:defRPr sz="1911" b="1"/>
            </a:lvl2pPr>
            <a:lvl3pPr marL="873842" indent="0">
              <a:buNone/>
              <a:defRPr sz="1720" b="1"/>
            </a:lvl3pPr>
            <a:lvl4pPr marL="1310763" indent="0">
              <a:buNone/>
              <a:defRPr sz="1529" b="1"/>
            </a:lvl4pPr>
            <a:lvl5pPr marL="1747684" indent="0">
              <a:buNone/>
              <a:defRPr sz="1529" b="1"/>
            </a:lvl5pPr>
            <a:lvl6pPr marL="2184605" indent="0">
              <a:buNone/>
              <a:defRPr sz="1529" b="1"/>
            </a:lvl6pPr>
            <a:lvl7pPr marL="2621526" indent="0">
              <a:buNone/>
              <a:defRPr sz="1529" b="1"/>
            </a:lvl7pPr>
            <a:lvl8pPr marL="3058447" indent="0">
              <a:buNone/>
              <a:defRPr sz="1529" b="1"/>
            </a:lvl8pPr>
            <a:lvl9pPr marL="3495368" indent="0">
              <a:buNone/>
              <a:defRPr sz="15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3262313"/>
            <a:ext cx="6060282" cy="5926932"/>
          </a:xfrm>
        </p:spPr>
        <p:txBody>
          <a:bodyPr/>
          <a:lstStyle>
            <a:lvl1pPr>
              <a:defRPr sz="2294"/>
            </a:lvl1pPr>
            <a:lvl2pPr>
              <a:defRPr sz="1911"/>
            </a:lvl2pPr>
            <a:lvl3pPr>
              <a:defRPr sz="1720"/>
            </a:lvl3pPr>
            <a:lvl4pPr>
              <a:defRPr sz="1529"/>
            </a:lvl4pPr>
            <a:lvl5pPr>
              <a:defRPr sz="1529"/>
            </a:lvl5pPr>
            <a:lvl6pPr>
              <a:defRPr sz="1529"/>
            </a:lvl6pPr>
            <a:lvl7pPr>
              <a:defRPr sz="1529"/>
            </a:lvl7pPr>
            <a:lvl8pPr>
              <a:defRPr sz="1529"/>
            </a:lvl8pPr>
            <a:lvl9pPr>
              <a:defRPr sz="15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967539" y="2302670"/>
            <a:ext cx="6062662" cy="959643"/>
          </a:xfrm>
        </p:spPr>
        <p:txBody>
          <a:bodyPr anchor="b"/>
          <a:lstStyle>
            <a:lvl1pPr marL="0" indent="0">
              <a:buNone/>
              <a:defRPr sz="2294" b="1"/>
            </a:lvl1pPr>
            <a:lvl2pPr marL="436921" indent="0">
              <a:buNone/>
              <a:defRPr sz="1911" b="1"/>
            </a:lvl2pPr>
            <a:lvl3pPr marL="873842" indent="0">
              <a:buNone/>
              <a:defRPr sz="1720" b="1"/>
            </a:lvl3pPr>
            <a:lvl4pPr marL="1310763" indent="0">
              <a:buNone/>
              <a:defRPr sz="1529" b="1"/>
            </a:lvl4pPr>
            <a:lvl5pPr marL="1747684" indent="0">
              <a:buNone/>
              <a:defRPr sz="1529" b="1"/>
            </a:lvl5pPr>
            <a:lvl6pPr marL="2184605" indent="0">
              <a:buNone/>
              <a:defRPr sz="1529" b="1"/>
            </a:lvl6pPr>
            <a:lvl7pPr marL="2621526" indent="0">
              <a:buNone/>
              <a:defRPr sz="1529" b="1"/>
            </a:lvl7pPr>
            <a:lvl8pPr marL="3058447" indent="0">
              <a:buNone/>
              <a:defRPr sz="1529" b="1"/>
            </a:lvl8pPr>
            <a:lvl9pPr marL="3495368" indent="0">
              <a:buNone/>
              <a:defRPr sz="15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967539" y="3262313"/>
            <a:ext cx="6062662" cy="5926932"/>
          </a:xfrm>
        </p:spPr>
        <p:txBody>
          <a:bodyPr/>
          <a:lstStyle>
            <a:lvl1pPr>
              <a:defRPr sz="2294"/>
            </a:lvl1pPr>
            <a:lvl2pPr>
              <a:defRPr sz="1911"/>
            </a:lvl2pPr>
            <a:lvl3pPr>
              <a:defRPr sz="1720"/>
            </a:lvl3pPr>
            <a:lvl4pPr>
              <a:defRPr sz="1529"/>
            </a:lvl4pPr>
            <a:lvl5pPr>
              <a:defRPr sz="1529"/>
            </a:lvl5pPr>
            <a:lvl6pPr>
              <a:defRPr sz="1529"/>
            </a:lvl6pPr>
            <a:lvl7pPr>
              <a:defRPr sz="1529"/>
            </a:lvl7pPr>
            <a:lvl8pPr>
              <a:defRPr sz="1529"/>
            </a:lvl8pPr>
            <a:lvl9pPr>
              <a:defRPr sz="15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6896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2576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5092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2" y="409576"/>
            <a:ext cx="4512469" cy="1743075"/>
          </a:xfrm>
        </p:spPr>
        <p:txBody>
          <a:bodyPr anchor="b"/>
          <a:lstStyle>
            <a:lvl1pPr algn="l">
              <a:defRPr sz="1911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62575" y="409576"/>
            <a:ext cx="7667625" cy="8779669"/>
          </a:xfrm>
        </p:spPr>
        <p:txBody>
          <a:bodyPr/>
          <a:lstStyle>
            <a:lvl1pPr>
              <a:defRPr sz="3058"/>
            </a:lvl1pPr>
            <a:lvl2pPr>
              <a:defRPr sz="2676"/>
            </a:lvl2pPr>
            <a:lvl3pPr>
              <a:defRPr sz="2294"/>
            </a:lvl3pPr>
            <a:lvl4pPr>
              <a:defRPr sz="1911"/>
            </a:lvl4pPr>
            <a:lvl5pPr>
              <a:defRPr sz="1911"/>
            </a:lvl5pPr>
            <a:lvl6pPr>
              <a:defRPr sz="1911"/>
            </a:lvl6pPr>
            <a:lvl7pPr>
              <a:defRPr sz="1911"/>
            </a:lvl7pPr>
            <a:lvl8pPr>
              <a:defRPr sz="1911"/>
            </a:lvl8pPr>
            <a:lvl9pPr>
              <a:defRPr sz="191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2" y="2152651"/>
            <a:ext cx="4512469" cy="7036595"/>
          </a:xfrm>
        </p:spPr>
        <p:txBody>
          <a:bodyPr/>
          <a:lstStyle>
            <a:lvl1pPr marL="0" indent="0">
              <a:buNone/>
              <a:defRPr sz="1338"/>
            </a:lvl1pPr>
            <a:lvl2pPr marL="436921" indent="0">
              <a:buNone/>
              <a:defRPr sz="1147"/>
            </a:lvl2pPr>
            <a:lvl3pPr marL="873842" indent="0">
              <a:buNone/>
              <a:defRPr sz="956"/>
            </a:lvl3pPr>
            <a:lvl4pPr marL="1310763" indent="0">
              <a:buNone/>
              <a:defRPr sz="860"/>
            </a:lvl4pPr>
            <a:lvl5pPr marL="1747684" indent="0">
              <a:buNone/>
              <a:defRPr sz="860"/>
            </a:lvl5pPr>
            <a:lvl6pPr marL="2184605" indent="0">
              <a:buNone/>
              <a:defRPr sz="860"/>
            </a:lvl6pPr>
            <a:lvl7pPr marL="2621526" indent="0">
              <a:buNone/>
              <a:defRPr sz="860"/>
            </a:lvl7pPr>
            <a:lvl8pPr marL="3058447" indent="0">
              <a:buNone/>
              <a:defRPr sz="860"/>
            </a:lvl8pPr>
            <a:lvl9pPr marL="3495368" indent="0">
              <a:buNone/>
              <a:defRPr sz="8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2302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8432" y="7200900"/>
            <a:ext cx="8229600" cy="850107"/>
          </a:xfrm>
        </p:spPr>
        <p:txBody>
          <a:bodyPr anchor="b"/>
          <a:lstStyle>
            <a:lvl1pPr algn="l">
              <a:defRPr sz="1911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88432" y="919163"/>
            <a:ext cx="8229600" cy="6172200"/>
          </a:xfrm>
        </p:spPr>
        <p:txBody>
          <a:bodyPr/>
          <a:lstStyle>
            <a:lvl1pPr marL="0" indent="0">
              <a:buNone/>
              <a:defRPr sz="3058"/>
            </a:lvl1pPr>
            <a:lvl2pPr marL="436921" indent="0">
              <a:buNone/>
              <a:defRPr sz="2676"/>
            </a:lvl2pPr>
            <a:lvl3pPr marL="873842" indent="0">
              <a:buNone/>
              <a:defRPr sz="2294"/>
            </a:lvl3pPr>
            <a:lvl4pPr marL="1310763" indent="0">
              <a:buNone/>
              <a:defRPr sz="1911"/>
            </a:lvl4pPr>
            <a:lvl5pPr marL="1747684" indent="0">
              <a:buNone/>
              <a:defRPr sz="1911"/>
            </a:lvl5pPr>
            <a:lvl6pPr marL="2184605" indent="0">
              <a:buNone/>
              <a:defRPr sz="1911"/>
            </a:lvl6pPr>
            <a:lvl7pPr marL="2621526" indent="0">
              <a:buNone/>
              <a:defRPr sz="1911"/>
            </a:lvl7pPr>
            <a:lvl8pPr marL="3058447" indent="0">
              <a:buNone/>
              <a:defRPr sz="1911"/>
            </a:lvl8pPr>
            <a:lvl9pPr marL="3495368" indent="0">
              <a:buNone/>
              <a:defRPr sz="1911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88432" y="8051007"/>
            <a:ext cx="8229600" cy="1207293"/>
          </a:xfrm>
        </p:spPr>
        <p:txBody>
          <a:bodyPr/>
          <a:lstStyle>
            <a:lvl1pPr marL="0" indent="0">
              <a:buNone/>
              <a:defRPr sz="1338"/>
            </a:lvl1pPr>
            <a:lvl2pPr marL="436921" indent="0">
              <a:buNone/>
              <a:defRPr sz="1147"/>
            </a:lvl2pPr>
            <a:lvl3pPr marL="873842" indent="0">
              <a:buNone/>
              <a:defRPr sz="956"/>
            </a:lvl3pPr>
            <a:lvl4pPr marL="1310763" indent="0">
              <a:buNone/>
              <a:defRPr sz="860"/>
            </a:lvl4pPr>
            <a:lvl5pPr marL="1747684" indent="0">
              <a:buNone/>
              <a:defRPr sz="860"/>
            </a:lvl5pPr>
            <a:lvl6pPr marL="2184605" indent="0">
              <a:buNone/>
              <a:defRPr sz="860"/>
            </a:lvl6pPr>
            <a:lvl7pPr marL="2621526" indent="0">
              <a:buNone/>
              <a:defRPr sz="860"/>
            </a:lvl7pPr>
            <a:lvl8pPr marL="3058447" indent="0">
              <a:buNone/>
              <a:defRPr sz="860"/>
            </a:lvl8pPr>
            <a:lvl9pPr marL="3495368" indent="0">
              <a:buNone/>
              <a:defRPr sz="8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8073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2654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44100" y="411958"/>
            <a:ext cx="3086100" cy="87772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411958"/>
            <a:ext cx="9029700" cy="87772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6567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340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">
  <p:cSld name="Diapositiva de título">
    <p:bg>
      <p:bgPr>
        <a:solidFill>
          <a:srgbClr val="02022E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00" y="14179"/>
            <a:ext cx="18288000" cy="10286997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20"/>
          <p:cNvSpPr txBox="1">
            <a:spLocks noGrp="1"/>
          </p:cNvSpPr>
          <p:nvPr>
            <p:ph type="ctrTitle"/>
          </p:nvPr>
        </p:nvSpPr>
        <p:spPr>
          <a:xfrm>
            <a:off x="809763" y="4038973"/>
            <a:ext cx="12417239" cy="1095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Verdana"/>
              <a:buNone/>
              <a:defRPr sz="3402" b="1" i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0"/>
          <p:cNvSpPr txBox="1">
            <a:spLocks noGrp="1"/>
          </p:cNvSpPr>
          <p:nvPr>
            <p:ph type="subTitle" idx="1"/>
          </p:nvPr>
        </p:nvSpPr>
        <p:spPr>
          <a:xfrm>
            <a:off x="809763" y="5152950"/>
            <a:ext cx="12417239" cy="1095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953"/>
              </a:spcBef>
              <a:spcAft>
                <a:spcPts val="0"/>
              </a:spcAft>
              <a:buClr>
                <a:schemeClr val="lt1"/>
              </a:buClr>
              <a:buSzPts val="900"/>
              <a:buNone/>
              <a:defRPr sz="1701" b="1" i="0">
                <a:solidFill>
                  <a:schemeClr val="l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ctr">
              <a:lnSpc>
                <a:spcPct val="90000"/>
              </a:lnSpc>
              <a:spcBef>
                <a:spcPts val="476"/>
              </a:spcBef>
              <a:spcAft>
                <a:spcPts val="0"/>
              </a:spcAft>
              <a:buClr>
                <a:schemeClr val="dk1"/>
              </a:buClr>
              <a:buSzPts val="1008"/>
              <a:buNone/>
              <a:defRPr sz="1905"/>
            </a:lvl2pPr>
            <a:lvl3pPr lvl="2" algn="ctr">
              <a:lnSpc>
                <a:spcPct val="90000"/>
              </a:lnSpc>
              <a:spcBef>
                <a:spcPts val="476"/>
              </a:spcBef>
              <a:spcAft>
                <a:spcPts val="0"/>
              </a:spcAft>
              <a:buClr>
                <a:schemeClr val="dk1"/>
              </a:buClr>
              <a:buSzPts val="907"/>
              <a:buNone/>
              <a:defRPr sz="1714"/>
            </a:lvl3pPr>
            <a:lvl4pPr lvl="3" algn="ctr">
              <a:lnSpc>
                <a:spcPct val="90000"/>
              </a:lnSpc>
              <a:spcBef>
                <a:spcPts val="476"/>
              </a:spcBef>
              <a:spcAft>
                <a:spcPts val="0"/>
              </a:spcAft>
              <a:buClr>
                <a:schemeClr val="dk1"/>
              </a:buClr>
              <a:buSzPts val="806"/>
              <a:buNone/>
              <a:defRPr sz="1523"/>
            </a:lvl4pPr>
            <a:lvl5pPr lvl="4" algn="ctr">
              <a:lnSpc>
                <a:spcPct val="90000"/>
              </a:lnSpc>
              <a:spcBef>
                <a:spcPts val="476"/>
              </a:spcBef>
              <a:spcAft>
                <a:spcPts val="0"/>
              </a:spcAft>
              <a:buClr>
                <a:schemeClr val="dk1"/>
              </a:buClr>
              <a:buSzPts val="806"/>
              <a:buNone/>
              <a:defRPr sz="1523"/>
            </a:lvl5pPr>
            <a:lvl6pPr lvl="5" algn="ctr">
              <a:lnSpc>
                <a:spcPct val="90000"/>
              </a:lnSpc>
              <a:spcBef>
                <a:spcPts val="476"/>
              </a:spcBef>
              <a:spcAft>
                <a:spcPts val="0"/>
              </a:spcAft>
              <a:buClr>
                <a:schemeClr val="dk1"/>
              </a:buClr>
              <a:buSzPts val="806"/>
              <a:buNone/>
              <a:defRPr sz="1523"/>
            </a:lvl6pPr>
            <a:lvl7pPr lvl="6" algn="ctr">
              <a:lnSpc>
                <a:spcPct val="90000"/>
              </a:lnSpc>
              <a:spcBef>
                <a:spcPts val="476"/>
              </a:spcBef>
              <a:spcAft>
                <a:spcPts val="0"/>
              </a:spcAft>
              <a:buClr>
                <a:schemeClr val="dk1"/>
              </a:buClr>
              <a:buSzPts val="806"/>
              <a:buNone/>
              <a:defRPr sz="1523"/>
            </a:lvl7pPr>
            <a:lvl8pPr lvl="7" algn="ctr">
              <a:lnSpc>
                <a:spcPct val="90000"/>
              </a:lnSpc>
              <a:spcBef>
                <a:spcPts val="476"/>
              </a:spcBef>
              <a:spcAft>
                <a:spcPts val="0"/>
              </a:spcAft>
              <a:buClr>
                <a:schemeClr val="dk1"/>
              </a:buClr>
              <a:buSzPts val="806"/>
              <a:buNone/>
              <a:defRPr sz="1523"/>
            </a:lvl8pPr>
            <a:lvl9pPr lvl="8" algn="ctr">
              <a:lnSpc>
                <a:spcPct val="90000"/>
              </a:lnSpc>
              <a:spcBef>
                <a:spcPts val="476"/>
              </a:spcBef>
              <a:spcAft>
                <a:spcPts val="0"/>
              </a:spcAft>
              <a:buClr>
                <a:schemeClr val="dk1"/>
              </a:buClr>
              <a:buSzPts val="806"/>
              <a:buNone/>
              <a:defRPr sz="1523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6962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9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522">
          <p15:clr>
            <a:srgbClr val="FBAE40"/>
          </p15:clr>
        </p15:guide>
        <p15:guide id="2" pos="4454">
          <p15:clr>
            <a:srgbClr val="FBAE40"/>
          </p15:clr>
        </p15:guide>
        <p15:guide id="3" orient="horz" pos="1655">
          <p15:clr>
            <a:srgbClr val="FBAE40"/>
          </p15:clr>
        </p15:guide>
        <p15:guide id="4" pos="55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011D18E-771E-942C-51C6-AAD525A68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49303220"/>
              </p:ext>
            </p:extLst>
          </p:nvPr>
        </p:nvGraphicFramePr>
        <p:xfrm>
          <a:off x="853" y="1339"/>
          <a:ext cx="853" cy="1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6" imgW="405" imgH="405" progId="TCLayout.ActiveDocument.1">
                  <p:embed/>
                </p:oleObj>
              </mc:Choice>
              <mc:Fallback>
                <p:oleObj name="Diapositiva de think-cell" r:id="rId16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11D18E-771E-942C-51C6-AAD525A68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853" y="1339"/>
                        <a:ext cx="853" cy="13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11958"/>
            <a:ext cx="12344400" cy="1714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00300"/>
            <a:ext cx="12344400" cy="67889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9534527"/>
            <a:ext cx="3200400" cy="5476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7/6/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6300" y="9534527"/>
            <a:ext cx="4343400" cy="5476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29800" y="9534527"/>
            <a:ext cx="3200400" cy="5476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F6DA9-008F-8B48-92A6-B652298478B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854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ctr" defTabSz="436921" rtl="0" eaLnBrk="1" latinLnBrk="0" hangingPunct="1">
        <a:spcBef>
          <a:spcPct val="0"/>
        </a:spcBef>
        <a:buNone/>
        <a:defRPr sz="420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7691" indent="-327691" algn="l" defTabSz="436921" rtl="0" eaLnBrk="1" latinLnBrk="0" hangingPunct="1">
        <a:spcBef>
          <a:spcPct val="20000"/>
        </a:spcBef>
        <a:buFont typeface="Arial"/>
        <a:buChar char="•"/>
        <a:defRPr sz="3058" kern="1200">
          <a:solidFill>
            <a:schemeClr val="tx1"/>
          </a:solidFill>
          <a:latin typeface="+mn-lt"/>
          <a:ea typeface="+mn-ea"/>
          <a:cs typeface="+mn-cs"/>
        </a:defRPr>
      </a:lvl1pPr>
      <a:lvl2pPr marL="709997" indent="-273076" algn="l" defTabSz="436921" rtl="0" eaLnBrk="1" latinLnBrk="0" hangingPunct="1">
        <a:spcBef>
          <a:spcPct val="20000"/>
        </a:spcBef>
        <a:buFont typeface="Arial"/>
        <a:buChar char="–"/>
        <a:defRPr sz="2676" kern="1200">
          <a:solidFill>
            <a:schemeClr val="tx1"/>
          </a:solidFill>
          <a:latin typeface="+mn-lt"/>
          <a:ea typeface="+mn-ea"/>
          <a:cs typeface="+mn-cs"/>
        </a:defRPr>
      </a:lvl2pPr>
      <a:lvl3pPr marL="1092303" indent="-218461" algn="l" defTabSz="436921" rtl="0" eaLnBrk="1" latinLnBrk="0" hangingPunct="1">
        <a:spcBef>
          <a:spcPct val="20000"/>
        </a:spcBef>
        <a:buFont typeface="Arial"/>
        <a:buChar char="•"/>
        <a:defRPr sz="2294" kern="1200">
          <a:solidFill>
            <a:schemeClr val="tx1"/>
          </a:solidFill>
          <a:latin typeface="+mn-lt"/>
          <a:ea typeface="+mn-ea"/>
          <a:cs typeface="+mn-cs"/>
        </a:defRPr>
      </a:lvl3pPr>
      <a:lvl4pPr marL="1529223" indent="-218461" algn="l" defTabSz="436921" rtl="0" eaLnBrk="1" latinLnBrk="0" hangingPunct="1">
        <a:spcBef>
          <a:spcPct val="20000"/>
        </a:spcBef>
        <a:buFont typeface="Arial"/>
        <a:buChar char="–"/>
        <a:defRPr sz="1911" kern="1200">
          <a:solidFill>
            <a:schemeClr val="tx1"/>
          </a:solidFill>
          <a:latin typeface="+mn-lt"/>
          <a:ea typeface="+mn-ea"/>
          <a:cs typeface="+mn-cs"/>
        </a:defRPr>
      </a:lvl4pPr>
      <a:lvl5pPr marL="1966144" indent="-218461" algn="l" defTabSz="436921" rtl="0" eaLnBrk="1" latinLnBrk="0" hangingPunct="1">
        <a:spcBef>
          <a:spcPct val="20000"/>
        </a:spcBef>
        <a:buFont typeface="Arial"/>
        <a:buChar char="»"/>
        <a:defRPr sz="1911" kern="1200">
          <a:solidFill>
            <a:schemeClr val="tx1"/>
          </a:solidFill>
          <a:latin typeface="+mn-lt"/>
          <a:ea typeface="+mn-ea"/>
          <a:cs typeface="+mn-cs"/>
        </a:defRPr>
      </a:lvl5pPr>
      <a:lvl6pPr marL="2403065" indent="-218461" algn="l" defTabSz="436921" rtl="0" eaLnBrk="1" latinLnBrk="0" hangingPunct="1">
        <a:spcBef>
          <a:spcPct val="20000"/>
        </a:spcBef>
        <a:buFont typeface="Arial"/>
        <a:buChar char="•"/>
        <a:defRPr sz="1911" kern="1200">
          <a:solidFill>
            <a:schemeClr val="tx1"/>
          </a:solidFill>
          <a:latin typeface="+mn-lt"/>
          <a:ea typeface="+mn-ea"/>
          <a:cs typeface="+mn-cs"/>
        </a:defRPr>
      </a:lvl6pPr>
      <a:lvl7pPr marL="2839986" indent="-218461" algn="l" defTabSz="436921" rtl="0" eaLnBrk="1" latinLnBrk="0" hangingPunct="1">
        <a:spcBef>
          <a:spcPct val="20000"/>
        </a:spcBef>
        <a:buFont typeface="Arial"/>
        <a:buChar char="•"/>
        <a:defRPr sz="1911" kern="1200">
          <a:solidFill>
            <a:schemeClr val="tx1"/>
          </a:solidFill>
          <a:latin typeface="+mn-lt"/>
          <a:ea typeface="+mn-ea"/>
          <a:cs typeface="+mn-cs"/>
        </a:defRPr>
      </a:lvl7pPr>
      <a:lvl8pPr marL="3276907" indent="-218461" algn="l" defTabSz="436921" rtl="0" eaLnBrk="1" latinLnBrk="0" hangingPunct="1">
        <a:spcBef>
          <a:spcPct val="20000"/>
        </a:spcBef>
        <a:buFont typeface="Arial"/>
        <a:buChar char="•"/>
        <a:defRPr sz="1911" kern="1200">
          <a:solidFill>
            <a:schemeClr val="tx1"/>
          </a:solidFill>
          <a:latin typeface="+mn-lt"/>
          <a:ea typeface="+mn-ea"/>
          <a:cs typeface="+mn-cs"/>
        </a:defRPr>
      </a:lvl8pPr>
      <a:lvl9pPr marL="3713829" indent="-218461" algn="l" defTabSz="436921" rtl="0" eaLnBrk="1" latinLnBrk="0" hangingPunct="1">
        <a:spcBef>
          <a:spcPct val="20000"/>
        </a:spcBef>
        <a:buFont typeface="Arial"/>
        <a:buChar char="•"/>
        <a:defRPr sz="191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36921" rtl="0" eaLnBrk="1" latinLnBrk="0" hangingPunct="1">
        <a:defRPr sz="1720" kern="1200">
          <a:solidFill>
            <a:schemeClr val="tx1"/>
          </a:solidFill>
          <a:latin typeface="+mn-lt"/>
          <a:ea typeface="+mn-ea"/>
          <a:cs typeface="+mn-cs"/>
        </a:defRPr>
      </a:lvl1pPr>
      <a:lvl2pPr marL="436921" algn="l" defTabSz="436921" rtl="0" eaLnBrk="1" latinLnBrk="0" hangingPunct="1">
        <a:defRPr sz="1720" kern="1200">
          <a:solidFill>
            <a:schemeClr val="tx1"/>
          </a:solidFill>
          <a:latin typeface="+mn-lt"/>
          <a:ea typeface="+mn-ea"/>
          <a:cs typeface="+mn-cs"/>
        </a:defRPr>
      </a:lvl2pPr>
      <a:lvl3pPr marL="873842" algn="l" defTabSz="436921" rtl="0" eaLnBrk="1" latinLnBrk="0" hangingPunct="1">
        <a:defRPr sz="1720" kern="1200">
          <a:solidFill>
            <a:schemeClr val="tx1"/>
          </a:solidFill>
          <a:latin typeface="+mn-lt"/>
          <a:ea typeface="+mn-ea"/>
          <a:cs typeface="+mn-cs"/>
        </a:defRPr>
      </a:lvl3pPr>
      <a:lvl4pPr marL="1310763" algn="l" defTabSz="436921" rtl="0" eaLnBrk="1" latinLnBrk="0" hangingPunct="1">
        <a:defRPr sz="1720" kern="1200">
          <a:solidFill>
            <a:schemeClr val="tx1"/>
          </a:solidFill>
          <a:latin typeface="+mn-lt"/>
          <a:ea typeface="+mn-ea"/>
          <a:cs typeface="+mn-cs"/>
        </a:defRPr>
      </a:lvl4pPr>
      <a:lvl5pPr marL="1747684" algn="l" defTabSz="436921" rtl="0" eaLnBrk="1" latinLnBrk="0" hangingPunct="1">
        <a:defRPr sz="1720" kern="1200">
          <a:solidFill>
            <a:schemeClr val="tx1"/>
          </a:solidFill>
          <a:latin typeface="+mn-lt"/>
          <a:ea typeface="+mn-ea"/>
          <a:cs typeface="+mn-cs"/>
        </a:defRPr>
      </a:lvl5pPr>
      <a:lvl6pPr marL="2184605" algn="l" defTabSz="436921" rtl="0" eaLnBrk="1" latinLnBrk="0" hangingPunct="1">
        <a:defRPr sz="1720" kern="1200">
          <a:solidFill>
            <a:schemeClr val="tx1"/>
          </a:solidFill>
          <a:latin typeface="+mn-lt"/>
          <a:ea typeface="+mn-ea"/>
          <a:cs typeface="+mn-cs"/>
        </a:defRPr>
      </a:lvl6pPr>
      <a:lvl7pPr marL="2621526" algn="l" defTabSz="436921" rtl="0" eaLnBrk="1" latinLnBrk="0" hangingPunct="1">
        <a:defRPr sz="1720" kern="1200">
          <a:solidFill>
            <a:schemeClr val="tx1"/>
          </a:solidFill>
          <a:latin typeface="+mn-lt"/>
          <a:ea typeface="+mn-ea"/>
          <a:cs typeface="+mn-cs"/>
        </a:defRPr>
      </a:lvl7pPr>
      <a:lvl8pPr marL="3058447" algn="l" defTabSz="436921" rtl="0" eaLnBrk="1" latinLnBrk="0" hangingPunct="1">
        <a:defRPr sz="1720" kern="1200">
          <a:solidFill>
            <a:schemeClr val="tx1"/>
          </a:solidFill>
          <a:latin typeface="+mn-lt"/>
          <a:ea typeface="+mn-ea"/>
          <a:cs typeface="+mn-cs"/>
        </a:defRPr>
      </a:lvl8pPr>
      <a:lvl9pPr marL="3495368" algn="l" defTabSz="436921" rtl="0" eaLnBrk="1" latinLnBrk="0" hangingPunct="1">
        <a:defRPr sz="17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2B4E3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817CFB4-42D4-4230-C527-80A8DA6F0C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1132D74B-564B-821B-0D7B-844C6B831D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85122" y="2705100"/>
            <a:ext cx="6917755" cy="2811895"/>
          </a:xfrm>
          <a:prstGeom prst="rect">
            <a:avLst/>
          </a:prstGeom>
        </p:spPr>
      </p:pic>
      <p:pic>
        <p:nvPicPr>
          <p:cNvPr id="7" name="Picture 6" descr="A road with flowers and trees&#10;&#10;AI-generated content may be incorrect.">
            <a:extLst>
              <a:ext uri="{FF2B5EF4-FFF2-40B4-BE49-F238E27FC236}">
                <a16:creationId xmlns:a16="http://schemas.microsoft.com/office/drawing/2014/main" id="{81263AF9-7AEC-6142-C5DC-D9EB4008B08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4796" r="11223"/>
          <a:stretch>
            <a:fillRect/>
          </a:stretch>
        </p:blipFill>
        <p:spPr>
          <a:xfrm>
            <a:off x="-35859" y="-29135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7740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15679D4-3F27-7048-B686-95B051BB5D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61" y="-7620"/>
            <a:ext cx="18455345" cy="1029462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9D20957-0062-EEC8-9ACA-0761CB7E59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890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CF1E6B-2E8A-3BD2-9FC4-8103BC7A28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441684" cy="10287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101AC10D-7A16-099B-4EA1-56A1EF9E89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12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DD11E4-3326-027E-79E9-972B1AD725B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2" t="2489" r="-32" b="22856"/>
          <a:stretch>
            <a:fillRect/>
          </a:stretch>
        </p:blipFill>
        <p:spPr>
          <a:xfrm>
            <a:off x="5862" y="0"/>
            <a:ext cx="18288000" cy="10287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D96142CA-36E3-09D0-D325-EEBF1A0702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58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9C44E17-414B-833C-A169-EE5352E16A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CEC4E75-95BC-F82E-4FE9-4B6FC1E3D3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71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2A4436-6E67-02BC-4FF8-DE1711B27B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144" y="-940593"/>
            <a:ext cx="18288000" cy="12168186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9D93459-64DA-9CF3-6A59-71365D4061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0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DCB1544-5A9A-DCA0-C5DC-FA5DCD6AF7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441684" cy="10287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6B745BB8-C830-D2A2-3AF2-3A182FCC0A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972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1FA3C26-069B-014B-CED9-4C4E6906EE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D5430F74-F223-2223-1126-83DFAA3E83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13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B105FE-B8B2-EF7F-FE01-DFD00AF61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9135"/>
            <a:ext cx="18339796" cy="1031613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A1528A05-9110-CFC4-3FCE-B4244ED95F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23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B5A684F-8DAA-147B-E375-33A14C2F3F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446" y="-949337"/>
            <a:ext cx="18282138" cy="12185674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DA7E846-25A5-880A-0BE1-5781CEF61F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63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19EE0AA-DC09-80E3-60E2-BE87F9F5A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D4584F99-6EAE-8D3C-6E71-8C7D5D7F0C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821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84A4702-7911-9429-2CB4-A065EDEC0A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8079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1ED3DF-36D0-29CE-7BAC-C3F3D2627A7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24758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E0A9F682-DC4C-A079-BE2C-B343D64774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307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A2CC39-1388-A77E-E3EC-32BD9C54BE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F431FA6-DF7D-974C-7F70-6DC27B6F95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657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36DA0-36AC-EF7C-C81E-E11642D44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F5E77E4-611F-75D0-6C25-5F586D635D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5309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0D7F11-9DD9-C743-AB3E-23EA824FC4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511C7ED-F8D3-8304-B246-D115D2C2BC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43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00DCE80-8F56-B641-9E21-13F803850D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0"/>
            <a:ext cx="18288000" cy="11258261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61B5147C-C0F9-485E-9579-43C865BE47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21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Click="0" advTm="120000"/>
    </mc:Choice>
    <mc:Fallback xmlns="">
      <p:transition spd="slow"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579ED47-E265-97CA-006D-D783F87B05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441684" cy="10287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4E7C575-66FA-A536-B3B0-46F709269E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54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Click="0" advTm="120000"/>
    </mc:Choice>
    <mc:Fallback xmlns="">
      <p:transition spd="slow"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244987D-00AB-424E-0733-6269AB2FC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441684" cy="10287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8C8E4EA-D2C1-CAE4-B73B-7A0A8D3B1B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62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2548A93-138B-451E-0C00-5E37166E23A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5278" b="972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6E2F0DAA-ED06-B383-BD77-366D311F9B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44800" y="647700"/>
            <a:ext cx="206211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43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00"/>
    </mc:Choice>
    <mc:Fallback xmlns="">
      <p:transition advClick="0" advTm="1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5917b4c-2a79-444f-8ba6-7a152f8bcec0" xsi:nil="true"/>
    <lcf76f155ced4ddcb4097134ff3c332f xmlns="53ab8ee4-3832-45fa-aa9b-58f547f619ac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AB553305D21F54791715CDE5F9317C1" ma:contentTypeVersion="14" ma:contentTypeDescription="Crear nuevo documento." ma:contentTypeScope="" ma:versionID="42813619d3456ea4da20a69fcd7882fd">
  <xsd:schema xmlns:xsd="http://www.w3.org/2001/XMLSchema" xmlns:xs="http://www.w3.org/2001/XMLSchema" xmlns:p="http://schemas.microsoft.com/office/2006/metadata/properties" xmlns:ns2="53ab8ee4-3832-45fa-aa9b-58f547f619ac" xmlns:ns3="a5917b4c-2a79-444f-8ba6-7a152f8bcec0" targetNamespace="http://schemas.microsoft.com/office/2006/metadata/properties" ma:root="true" ma:fieldsID="209f7ee7237a34467de0ff05b87ff7d4" ns2:_="" ns3:_="">
    <xsd:import namespace="53ab8ee4-3832-45fa-aa9b-58f547f619ac"/>
    <xsd:import namespace="a5917b4c-2a79-444f-8ba6-7a152f8bce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ab8ee4-3832-45fa-aa9b-58f547f619a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Etiquetas de imagen" ma:readOnly="false" ma:fieldId="{5cf76f15-5ced-4ddc-b409-7134ff3c332f}" ma:taxonomyMulti="true" ma:sspId="eb03c941-dfea-4627-b9e4-2d092a9d6c6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917b4c-2a79-444f-8ba6-7a152f8bcec0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0b77b38a-823a-4ef9-b72d-f9474cf3de40}" ma:internalName="TaxCatchAll" ma:showField="CatchAllData" ma:web="a5917b4c-2a79-444f-8ba6-7a152f8bce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E83FF67-7539-405A-AE33-C88EF1BD5CF6}">
  <ds:schemaRefs>
    <ds:schemaRef ds:uri="53ab8ee4-3832-45fa-aa9b-58f547f619ac"/>
    <ds:schemaRef ds:uri="a5917b4c-2a79-444f-8ba6-7a152f8bcec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A6378E2-D16E-4CAD-8102-A0298C1B8293}">
  <ds:schemaRefs>
    <ds:schemaRef ds:uri="53ab8ee4-3832-45fa-aa9b-58f547f619ac"/>
    <ds:schemaRef ds:uri="a5917b4c-2a79-444f-8ba6-7a152f8bcec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7E2CA44-8415-4BE3-8953-19CFC9D5C7D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Macintosh PowerPoint</Application>
  <PresentationFormat>Personalizado</PresentationFormat>
  <Paragraphs>0</Paragraphs>
  <Slides>20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26" baseType="lpstr">
      <vt:lpstr>Calibri</vt:lpstr>
      <vt:lpstr>Arial</vt:lpstr>
      <vt:lpstr>Verdana</vt:lpstr>
      <vt:lpstr>Office Theme</vt:lpstr>
      <vt:lpstr>1_Office Them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acaste capital</dc:title>
  <cp:lastModifiedBy>Rudy  Mendoza</cp:lastModifiedBy>
  <cp:revision>3</cp:revision>
  <dcterms:created xsi:type="dcterms:W3CDTF">2006-08-16T00:00:00Z</dcterms:created>
  <dcterms:modified xsi:type="dcterms:W3CDTF">2026-07-07T05:43:27Z</dcterms:modified>
  <dc:identifier>DAHLcXlx5Tg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B553305D21F54791715CDE5F9317C1</vt:lpwstr>
  </property>
  <property fmtid="{D5CDD505-2E9C-101B-9397-08002B2CF9AE}" pid="3" name="MediaServiceImageTags">
    <vt:lpwstr/>
  </property>
</Properties>
</file>